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D$2:$D$232</c:f>
              <c:numCache>
                <c:formatCode>#,##0</c:formatCode>
                <c:ptCount val="23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3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8</c:v>
                </c:pt>
                <c:pt idx="183">
                  <c:v>804</c:v>
                </c:pt>
                <c:pt idx="184">
                  <c:v>825</c:v>
                </c:pt>
                <c:pt idx="185">
                  <c:v>840</c:v>
                </c:pt>
                <c:pt idx="186">
                  <c:v>850</c:v>
                </c:pt>
                <c:pt idx="187">
                  <c:v>869</c:v>
                </c:pt>
                <c:pt idx="188">
                  <c:v>917</c:v>
                </c:pt>
                <c:pt idx="189">
                  <c:v>907</c:v>
                </c:pt>
                <c:pt idx="190">
                  <c:v>916</c:v>
                </c:pt>
                <c:pt idx="191">
                  <c:v>917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4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6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6</c:v>
                </c:pt>
                <c:pt idx="217">
                  <c:v>739</c:v>
                </c:pt>
                <c:pt idx="218">
                  <c:v>715</c:v>
                </c:pt>
                <c:pt idx="219">
                  <c:v>682</c:v>
                </c:pt>
                <c:pt idx="220">
                  <c:v>643</c:v>
                </c:pt>
                <c:pt idx="221">
                  <c:v>620</c:v>
                </c:pt>
                <c:pt idx="222">
                  <c:v>620</c:v>
                </c:pt>
                <c:pt idx="223">
                  <c:v>610</c:v>
                </c:pt>
                <c:pt idx="224">
                  <c:v>592</c:v>
                </c:pt>
                <c:pt idx="225">
                  <c:v>558</c:v>
                </c:pt>
                <c:pt idx="226">
                  <c:v>531</c:v>
                </c:pt>
                <c:pt idx="227">
                  <c:v>521</c:v>
                </c:pt>
                <c:pt idx="228">
                  <c:v>495</c:v>
                </c:pt>
                <c:pt idx="229" formatCode="General">
                  <c:v>499</c:v>
                </c:pt>
                <c:pt idx="230" formatCode="General">
                  <c:v>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951155278743182E-2"/>
                  <c:y val="-6.99042216925809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B$2:$B$232</c:f>
              <c:numCache>
                <c:formatCode>#,##0</c:formatCode>
                <c:ptCount val="23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C$2:$C$232</c:f>
              <c:numCache>
                <c:formatCode>#,##0</c:formatCode>
                <c:ptCount val="23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D$2:$D$232</c:f>
              <c:numCache>
                <c:formatCode>#,##0</c:formatCode>
                <c:ptCount val="23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6</c:v>
                </c:pt>
                <c:pt idx="120">
                  <c:v>2479</c:v>
                </c:pt>
                <c:pt idx="121">
                  <c:v>2500</c:v>
                </c:pt>
                <c:pt idx="122">
                  <c:v>2499</c:v>
                </c:pt>
                <c:pt idx="123">
                  <c:v>2684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5</c:v>
                </c:pt>
                <c:pt idx="130">
                  <c:v>2967</c:v>
                </c:pt>
                <c:pt idx="131">
                  <c:v>2975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3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19</c:v>
                </c:pt>
                <c:pt idx="183">
                  <c:v>3595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6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5</c:v>
                </c:pt>
                <c:pt idx="198">
                  <c:v>3997</c:v>
                </c:pt>
                <c:pt idx="199">
                  <c:v>3794</c:v>
                </c:pt>
                <c:pt idx="200">
                  <c:v>3721</c:v>
                </c:pt>
                <c:pt idx="201">
                  <c:v>3798</c:v>
                </c:pt>
                <c:pt idx="202">
                  <c:v>3814</c:v>
                </c:pt>
                <c:pt idx="203">
                  <c:v>3685</c:v>
                </c:pt>
                <c:pt idx="204">
                  <c:v>3541</c:v>
                </c:pt>
                <c:pt idx="205">
                  <c:v>3471</c:v>
                </c:pt>
                <c:pt idx="206">
                  <c:v>3329</c:v>
                </c:pt>
                <c:pt idx="207">
                  <c:v>3354</c:v>
                </c:pt>
                <c:pt idx="208">
                  <c:v>3384</c:v>
                </c:pt>
                <c:pt idx="209">
                  <c:v>3355</c:v>
                </c:pt>
                <c:pt idx="210">
                  <c:v>3279</c:v>
                </c:pt>
                <c:pt idx="211">
                  <c:v>3145</c:v>
                </c:pt>
                <c:pt idx="212">
                  <c:v>2999</c:v>
                </c:pt>
                <c:pt idx="213">
                  <c:v>2816</c:v>
                </c:pt>
                <c:pt idx="214">
                  <c:v>2771</c:v>
                </c:pt>
                <c:pt idx="215">
                  <c:v>2830</c:v>
                </c:pt>
                <c:pt idx="216">
                  <c:v>2845</c:v>
                </c:pt>
                <c:pt idx="217">
                  <c:v>3045</c:v>
                </c:pt>
                <c:pt idx="218">
                  <c:v>2867</c:v>
                </c:pt>
                <c:pt idx="219">
                  <c:v>2690</c:v>
                </c:pt>
                <c:pt idx="220">
                  <c:v>2420</c:v>
                </c:pt>
                <c:pt idx="221">
                  <c:v>2334</c:v>
                </c:pt>
                <c:pt idx="222">
                  <c:v>2349</c:v>
                </c:pt>
                <c:pt idx="223">
                  <c:v>2334</c:v>
                </c:pt>
                <c:pt idx="224">
                  <c:v>2236</c:v>
                </c:pt>
                <c:pt idx="225">
                  <c:v>2109</c:v>
                </c:pt>
                <c:pt idx="226">
                  <c:v>1933</c:v>
                </c:pt>
                <c:pt idx="227">
                  <c:v>1788</c:v>
                </c:pt>
                <c:pt idx="228">
                  <c:v>1738</c:v>
                </c:pt>
                <c:pt idx="229">
                  <c:v>1744</c:v>
                </c:pt>
                <c:pt idx="230">
                  <c:v>17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53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B$2:$B$232</c:f>
              <c:numCache>
                <c:formatCode>#,##0</c:formatCode>
                <c:ptCount val="23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C$2:$C$232</c:f>
              <c:numCache>
                <c:formatCode>#,##0</c:formatCode>
                <c:ptCount val="23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D$2:$D$232</c:f>
              <c:numCache>
                <c:formatCode>#,##0</c:formatCode>
                <c:ptCount val="2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19</c:v>
                </c:pt>
                <c:pt idx="226">
                  <c:v>20</c:v>
                </c:pt>
                <c:pt idx="227">
                  <c:v>21</c:v>
                </c:pt>
                <c:pt idx="228">
                  <c:v>21</c:v>
                </c:pt>
                <c:pt idx="229" formatCode="General">
                  <c:v>22</c:v>
                </c:pt>
                <c:pt idx="230" formatCode="General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B$2:$B$232</c:f>
              <c:numCache>
                <c:formatCode>#,##0</c:formatCode>
                <c:ptCount val="23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C$2:$C$232</c:f>
              <c:numCache>
                <c:formatCode>#,##0</c:formatCode>
                <c:ptCount val="23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D$2:$D$232</c:f>
              <c:numCache>
                <c:formatCode>#,##0</c:formatCode>
                <c:ptCount val="23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7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49</c:v>
                </c:pt>
                <c:pt idx="185">
                  <c:v>1669</c:v>
                </c:pt>
                <c:pt idx="186">
                  <c:v>1673</c:v>
                </c:pt>
                <c:pt idx="187">
                  <c:v>1676</c:v>
                </c:pt>
                <c:pt idx="188">
                  <c:v>1771</c:v>
                </c:pt>
                <c:pt idx="189">
                  <c:v>1801</c:v>
                </c:pt>
                <c:pt idx="190">
                  <c:v>1832</c:v>
                </c:pt>
                <c:pt idx="191">
                  <c:v>1821</c:v>
                </c:pt>
                <c:pt idx="192">
                  <c:v>1832</c:v>
                </c:pt>
                <c:pt idx="193">
                  <c:v>1780</c:v>
                </c:pt>
                <c:pt idx="194">
                  <c:v>1827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9</c:v>
                </c:pt>
                <c:pt idx="204">
                  <c:v>1748</c:v>
                </c:pt>
                <c:pt idx="205">
                  <c:v>1747</c:v>
                </c:pt>
                <c:pt idx="206">
                  <c:v>1685</c:v>
                </c:pt>
                <c:pt idx="207">
                  <c:v>1649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59</c:v>
                </c:pt>
                <c:pt idx="212">
                  <c:v>1513</c:v>
                </c:pt>
                <c:pt idx="213">
                  <c:v>1429</c:v>
                </c:pt>
                <c:pt idx="214">
                  <c:v>1404</c:v>
                </c:pt>
                <c:pt idx="215">
                  <c:v>1385</c:v>
                </c:pt>
                <c:pt idx="216">
                  <c:v>1355</c:v>
                </c:pt>
                <c:pt idx="217">
                  <c:v>1407</c:v>
                </c:pt>
                <c:pt idx="218">
                  <c:v>1377</c:v>
                </c:pt>
                <c:pt idx="219">
                  <c:v>1331</c:v>
                </c:pt>
                <c:pt idx="220">
                  <c:v>1252</c:v>
                </c:pt>
                <c:pt idx="221">
                  <c:v>1236</c:v>
                </c:pt>
                <c:pt idx="222">
                  <c:v>1220</c:v>
                </c:pt>
                <c:pt idx="223">
                  <c:v>1205</c:v>
                </c:pt>
                <c:pt idx="224">
                  <c:v>1183</c:v>
                </c:pt>
                <c:pt idx="225">
                  <c:v>1140</c:v>
                </c:pt>
                <c:pt idx="226">
                  <c:v>1053</c:v>
                </c:pt>
                <c:pt idx="227">
                  <c:v>1027</c:v>
                </c:pt>
                <c:pt idx="228">
                  <c:v>974</c:v>
                </c:pt>
                <c:pt idx="229" formatCode="General">
                  <c:v>979</c:v>
                </c:pt>
                <c:pt idx="230" formatCode="General">
                  <c:v>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49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B$2:$B$232</c:f>
              <c:numCache>
                <c:formatCode>#,##0</c:formatCode>
                <c:ptCount val="23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2</c:f>
              <c:numCache>
                <c:formatCode>m/d/yyyy</c:formatCode>
                <c:ptCount val="23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</c:numCache>
            </c:numRef>
          </c:cat>
          <c:val>
            <c:numRef>
              <c:f>Sheet1!$C$2:$C$232</c:f>
              <c:numCache>
                <c:formatCode>#,##0</c:formatCode>
                <c:ptCount val="23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0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0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0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0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1389080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78569751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9971155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287547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43392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706346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26</TotalTime>
  <Words>1041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07</cp:revision>
  <dcterms:created xsi:type="dcterms:W3CDTF">2020-08-08T14:25:07Z</dcterms:created>
  <dcterms:modified xsi:type="dcterms:W3CDTF">2021-04-20T03:44:00Z</dcterms:modified>
</cp:coreProperties>
</file>